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8.8289112534309239E-2"/>
          <c:w val="0.94825870646766164"/>
          <c:h val="0.823421774931381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00A-45B8-9BBC-A047B32D1696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00A-45B8-9BBC-A047B32D1696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0A-45B8-9BBC-A047B32D16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00A-45B8-9BBC-A047B32D169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00A-45B8-9BBC-A047B32D1696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00A-45B8-9BBC-A047B32D1696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00A-45B8-9BBC-A047B32D16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00A-45B8-9BBC-A047B32D1696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00A-45B8-9BBC-A047B32D1696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00A-45B8-9BBC-A047B32D1696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00A-45B8-9BBC-A047B32D16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4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00A-45B8-9BBC-A047B32D16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1706511"/>
        <c:axId val="1"/>
      </c:barChart>
      <c:catAx>
        <c:axId val="891706511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1706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A8487-7BE5-5DD8-B2DD-976DFE420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2A5539-16B1-DAC5-F774-E1AC4DC0CD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5B2A7-E56A-5DAB-1CB7-273A0E409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A1D95-E722-3FEE-AA64-2C7ABA971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EE30-54A9-3351-9F67-9B8238554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599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FE332-0E6E-A32C-A274-91B6EA43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2BC80-C2D2-156A-6877-FAD7F54C2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66407-8D18-AE08-245F-F835B70A5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ECFEC-D1BA-6F45-2C98-0D86349C3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0A4252-E9F1-F85C-F357-C305D5E81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03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379393-15F4-8063-8C43-F69056C60A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C0DD0-B69C-C38B-05F9-C3F2C09290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98491-EF16-CB06-9C0D-0AB19B9B5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A0DCC-520B-F32B-016E-69B801971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0790CF-6B61-E3E3-226B-CDA9583A2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720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6DF55-CEED-F8CD-7E2C-545F6E98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2FAA7-8A75-1CD4-DE98-32B6888C9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A6EC6-60A1-89FB-FC47-FE861996D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A1CEA-FBF1-D149-6300-7F08BAF88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F57E2-8951-DCB3-A890-72FED800D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2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4DC37-3623-FA73-D50D-73F643ED4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2CD63F-7672-BC90-F58A-5AB059CB0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D5DD8-B1E2-541A-B46D-079F986F6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430E9-DDFE-6605-EEFF-3F9F89C7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81FE2-5BD9-7ED0-278B-A00B28681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24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387A1-4840-68CC-E03F-49027AAFA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268A6B-5D0D-D474-0331-91A1FF8303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35028B-2A45-7AAE-BC86-577AD4643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F1C01-E8D9-CA34-2277-6B625C580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B58C2-8FA7-0D7B-239F-9F74C33B3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113A5-8A89-F448-AC50-80C70757B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4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27332-1D08-EF82-7DA2-BF86D18E7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6248B-B6F8-7A88-7CDF-3444CA8CB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8E101-48A4-7312-2CFD-8CDE37E640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18AB2-FDBC-B546-C671-529D2DE04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1C6AB-5F3C-2C47-EF8E-AB8BB50E8E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1043E5-12E6-E216-14DB-5724EC4C9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A25E5D-27AC-A564-4A8F-C272671DB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79B99D-8AFD-943B-2B68-6AC32108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9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32376-CA80-30A2-AB1F-3060FF1C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BA70C-063A-8934-EE85-CBA0CA420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91E258-EC00-086C-7E4B-356EFE969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B19C50-AA93-B891-9BAE-E9BE34089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96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3AD085-D62E-1D14-3FB3-BC4E34C5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148014-85EA-32AF-0EEC-2C527D063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72435-DD1D-5238-672A-B7AB798D2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04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B5D6B-D64B-AB2C-EA77-E277DBCE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42556-6595-40A8-DC5E-3C6264FB7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3CC141-CE9A-A3E5-F0AD-201ABACBA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B031E-B249-898B-D328-1DEE17318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D592E3-FF63-0299-EC68-A982AD2A9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A3E597-892D-DAFC-5021-C511D23B4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70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11DE0-C071-D714-E387-1395E8C0F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3955C4-CB79-9981-0B54-C22E6F91F8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5AA675-66FB-BFBA-BC18-6339216E6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B108F8-958F-05CD-034A-0622A109F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8516D-ED75-F3E6-4563-AA9F49C51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0B72FF-9045-00C4-0790-F5D113EF1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04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637CA04-CC77-2660-BBED-B44312395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7472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AA7CB9-AB0F-60E5-11EE-41E5B3DC7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55EE8-418A-8B63-645E-0171B4E29A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99FCA-596B-542A-1678-618B894CA8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C984B-2428-0642-467E-EE7CA4E92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47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4A53D-A19C-E1D0-8635-5C42AFA18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79F452-320A-3A90-E349-5B0652921C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91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8C0E8B3-CECE-D286-BF57-6F544CF69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01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2" imgH="530" progId="TCLayout.ActiveDocument.1">
                  <p:embed/>
                </p:oleObj>
              </mc:Choice>
              <mc:Fallback>
                <p:oleObj name="think-cell Slide" r:id="rId1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2FB37C9-A285-BE61-9DEB-22850A6C28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0682403"/>
              </p:ext>
            </p:extLst>
          </p:nvPr>
        </p:nvGraphicFramePr>
        <p:xfrm>
          <a:off x="833438" y="1931988"/>
          <a:ext cx="319087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2237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3FAE53-5276-4D1F-AC12-0C04CA3D3CB4}" type="datetime'2''''''''''''0''''''''''''23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3202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8795A2-3DCC-401B-B343-28DAC358EE07}" type="datetime'''''''''''''''''2''0''''''''''''''2''''4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0088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272DCE-F128-4A6B-B4EA-26C18746349B}" type="datetime'''''''''''''''''''''''''20''''2''''''''''''5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90525" y="2500313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7C93BC-BCCB-4BEF-AC77-F8058586485A}" type="datetime'''''''''''''S''''''''''''''''''e''''''''r''''i''es'''' ''1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525" y="33035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C869EB-B431-4069-8AC0-8115B1BB598F}" type="datetime'S''''e''''''''''''''r''''i''''e''s'' ''''2''''''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0525" y="4108450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CBF10-8F9C-47D5-90C9-01FE00CCF2A6}" type="datetime'''''''''S''''e''''''ri''''e''''''''''s ''''''''3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98575" y="458628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C7279A-788B-4A68-96AB-A91736F289FC}" type="datetime'''1''''3'''''''''''''''''''''''''''''''''''''''''''''''''''">
              <a:rPr lang="en-US" altLang="en-US" sz="1400" smtClean="0"/>
              <a:pPr/>
              <a:t>13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08225" y="51212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7CD465-2B7D-4651-B2DC-747E155F96ED}" type="datetime'''''''''''''''''''''''''1''''''''''''''''''''''''''''''6'''''">
              <a:rPr lang="en-US" altLang="en-US" sz="1400" smtClean="0"/>
              <a:pPr/>
              <a:t>16</a:t>
            </a:fld>
            <a:endParaRPr 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63913" y="3692525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FC8A84-01CA-4DDB-AEFD-B5A6C3DA8009}" type="datetime'''''''''''8'''''''''''''''''''''''''''''''''''''''''''''">
              <a:rPr lang="en-US" altLang="en-US" sz="1400" smtClean="0"/>
              <a:pPr/>
              <a:t>8</a:t>
            </a:fld>
            <a:endParaRPr lang="en-US" sz="1400" dirty="0"/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9578856-5871-ADAC-7E0F-EBBE4FE7C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832D45EB-C218-42D8-A764-CC85D79510AF}" type="thinkcell&lt;?xml version=&quot;1.0&quot; encoding=&quot;UTF-16&quot; standalone=&quot;yes&quot;?&gt;&lt;root reqver=&quot;28224&quot;&gt;&lt;version val=&quot;35700&quot;/&gt;&lt;PersistentType&gt;&lt;m_varval type=&quot;5&quot;&gt;Slide #2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Title&lt;/m_strName&gt;&lt;/PersistentType&gt;&lt;/root&gt;">
              <a:rPr lang="en-US" altLang="en-US" smtClean="0">
                <a:effectLst/>
              </a:rPr>
              <a:pPr/>
              <a:t>Slide #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3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m.Zci8BMH6Jn5yLp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dsKBgfO8myTSZoANi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iBvu.RnW5iPYb4zug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LF9VqPIR3lhzsM0kz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uMspcHIs9NgEmjaD6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s3dMbX3kuRRX0jo7h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GyB5xA5eSGRV3Gc3z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4.K7rT8rHJ3BxadEa7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Qkc3Gkm4T6mEA6x4P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65BY1DjE3hfDyuVrz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Slide #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an, Danny B</dc:creator>
  <cp:lastModifiedBy>Doan, Danny B</cp:lastModifiedBy>
  <cp:revision>2</cp:revision>
  <dcterms:created xsi:type="dcterms:W3CDTF">2025-04-23T17:35:14Z</dcterms:created>
  <dcterms:modified xsi:type="dcterms:W3CDTF">2025-04-24T07:48:39Z</dcterms:modified>
</cp:coreProperties>
</file>